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522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D2F9E-D167-4ED3-83EC-AE46EA34BEC3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985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4E29CBA6-5015-4DE9-B529-3A0E8F333243}"/>
              </a:ext>
            </a:extLst>
          </p:cNvPr>
          <p:cNvGrpSpPr/>
          <p:nvPr/>
        </p:nvGrpSpPr>
        <p:grpSpPr>
          <a:xfrm>
            <a:off x="6168067" y="1767059"/>
            <a:ext cx="2933073" cy="3383878"/>
            <a:chOff x="6168067" y="1767059"/>
            <a:chExt cx="2372185" cy="3383878"/>
          </a:xfrm>
        </p:grpSpPr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D98AF4B0-604E-4B58-ACB4-701164C8803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68067" y="1767059"/>
              <a:ext cx="2372185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F28352AF-FB43-465B-8288-9E96AE6BE22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68067" y="2474226"/>
              <a:ext cx="2372185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0A184258-7362-4C05-917E-40A7D304468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68067" y="3136008"/>
              <a:ext cx="2372185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35AB43D0-54EA-4C8B-9C62-6BD45A7870B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68067" y="3822879"/>
              <a:ext cx="2372185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FDFAA9D6-8D05-404D-9944-93A5A4AA79A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68067" y="4467026"/>
              <a:ext cx="2372185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6DE3D6A-67FC-492C-8AA6-C4C3A53E293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68067" y="5150937"/>
              <a:ext cx="2372185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622952" y="1344919"/>
            <a:ext cx="5051957" cy="5136331"/>
            <a:chOff x="4967214" y="903182"/>
            <a:chExt cx="3788968" cy="3852248"/>
          </a:xfrm>
        </p:grpSpPr>
        <p:sp>
          <p:nvSpPr>
            <p:cNvPr id="221" name="Freeform 6"/>
            <p:cNvSpPr>
              <a:spLocks/>
            </p:cNvSpPr>
            <p:nvPr/>
          </p:nvSpPr>
          <p:spPr bwMode="auto">
            <a:xfrm>
              <a:off x="4967214" y="3591008"/>
              <a:ext cx="3788967" cy="1164422"/>
            </a:xfrm>
            <a:custGeom>
              <a:avLst/>
              <a:gdLst>
                <a:gd name="T0" fmla="*/ 161 w 2220"/>
                <a:gd name="T1" fmla="*/ 0 h 639"/>
                <a:gd name="T2" fmla="*/ 0 w 2220"/>
                <a:gd name="T3" fmla="*/ 234 h 639"/>
                <a:gd name="T4" fmla="*/ 1111 w 2220"/>
                <a:gd name="T5" fmla="*/ 639 h 639"/>
                <a:gd name="T6" fmla="*/ 2220 w 2220"/>
                <a:gd name="T7" fmla="*/ 234 h 639"/>
                <a:gd name="T8" fmla="*/ 2059 w 2220"/>
                <a:gd name="T9" fmla="*/ 0 h 639"/>
                <a:gd name="T10" fmla="*/ 1111 w 2220"/>
                <a:gd name="T11" fmla="*/ 346 h 639"/>
                <a:gd name="T12" fmla="*/ 161 w 2220"/>
                <a:gd name="T13" fmla="*/ 0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20" h="639">
                  <a:moveTo>
                    <a:pt x="161" y="0"/>
                  </a:moveTo>
                  <a:lnTo>
                    <a:pt x="0" y="234"/>
                  </a:lnTo>
                  <a:lnTo>
                    <a:pt x="1111" y="639"/>
                  </a:lnTo>
                  <a:lnTo>
                    <a:pt x="2220" y="234"/>
                  </a:lnTo>
                  <a:lnTo>
                    <a:pt x="2059" y="0"/>
                  </a:lnTo>
                  <a:lnTo>
                    <a:pt x="1111" y="346"/>
                  </a:lnTo>
                  <a:lnTo>
                    <a:pt x="161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22" name="Freeform 12"/>
            <p:cNvSpPr>
              <a:spLocks/>
            </p:cNvSpPr>
            <p:nvPr/>
          </p:nvSpPr>
          <p:spPr bwMode="auto">
            <a:xfrm>
              <a:off x="5243707" y="3561852"/>
              <a:ext cx="3237690" cy="659657"/>
            </a:xfrm>
            <a:custGeom>
              <a:avLst/>
              <a:gdLst>
                <a:gd name="T0" fmla="*/ 1897 w 1897"/>
                <a:gd name="T1" fmla="*/ 16 h 362"/>
                <a:gd name="T2" fmla="*/ 1780 w 1897"/>
                <a:gd name="T3" fmla="*/ 0 h 362"/>
                <a:gd name="T4" fmla="*/ 949 w 1897"/>
                <a:gd name="T5" fmla="*/ 303 h 362"/>
                <a:gd name="T6" fmla="*/ 117 w 1897"/>
                <a:gd name="T7" fmla="*/ 0 h 362"/>
                <a:gd name="T8" fmla="*/ 0 w 1897"/>
                <a:gd name="T9" fmla="*/ 16 h 362"/>
                <a:gd name="T10" fmla="*/ 949 w 1897"/>
                <a:gd name="T11" fmla="*/ 362 h 362"/>
                <a:gd name="T12" fmla="*/ 1897 w 1897"/>
                <a:gd name="T13" fmla="*/ 16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7" h="362">
                  <a:moveTo>
                    <a:pt x="1897" y="16"/>
                  </a:moveTo>
                  <a:lnTo>
                    <a:pt x="1780" y="0"/>
                  </a:lnTo>
                  <a:lnTo>
                    <a:pt x="949" y="303"/>
                  </a:lnTo>
                  <a:lnTo>
                    <a:pt x="117" y="0"/>
                  </a:lnTo>
                  <a:lnTo>
                    <a:pt x="0" y="16"/>
                  </a:lnTo>
                  <a:lnTo>
                    <a:pt x="949" y="362"/>
                  </a:lnTo>
                  <a:lnTo>
                    <a:pt x="1897" y="16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23" name="Freeform 17"/>
            <p:cNvSpPr>
              <a:spLocks/>
            </p:cNvSpPr>
            <p:nvPr/>
          </p:nvSpPr>
          <p:spPr bwMode="auto">
            <a:xfrm>
              <a:off x="6863405" y="3591008"/>
              <a:ext cx="1892777" cy="1164422"/>
            </a:xfrm>
            <a:custGeom>
              <a:avLst/>
              <a:gdLst>
                <a:gd name="T0" fmla="*/ 0 w 1109"/>
                <a:gd name="T1" fmla="*/ 639 h 639"/>
                <a:gd name="T2" fmla="*/ 1109 w 1109"/>
                <a:gd name="T3" fmla="*/ 234 h 639"/>
                <a:gd name="T4" fmla="*/ 948 w 1109"/>
                <a:gd name="T5" fmla="*/ 0 h 639"/>
                <a:gd name="T6" fmla="*/ 0 w 1109"/>
                <a:gd name="T7" fmla="*/ 346 h 639"/>
                <a:gd name="T8" fmla="*/ 0 w 1109"/>
                <a:gd name="T9" fmla="*/ 639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09" h="639">
                  <a:moveTo>
                    <a:pt x="0" y="639"/>
                  </a:moveTo>
                  <a:lnTo>
                    <a:pt x="1109" y="234"/>
                  </a:lnTo>
                  <a:lnTo>
                    <a:pt x="948" y="0"/>
                  </a:lnTo>
                  <a:lnTo>
                    <a:pt x="0" y="346"/>
                  </a:lnTo>
                  <a:lnTo>
                    <a:pt x="0" y="639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24" name="Freeform 7"/>
            <p:cNvSpPr>
              <a:spLocks/>
            </p:cNvSpPr>
            <p:nvPr/>
          </p:nvSpPr>
          <p:spPr bwMode="auto">
            <a:xfrm>
              <a:off x="5279548" y="3071666"/>
              <a:ext cx="3164299" cy="1042330"/>
            </a:xfrm>
            <a:custGeom>
              <a:avLst/>
              <a:gdLst>
                <a:gd name="T0" fmla="*/ 161 w 1854"/>
                <a:gd name="T1" fmla="*/ 0 h 572"/>
                <a:gd name="T2" fmla="*/ 0 w 1854"/>
                <a:gd name="T3" fmla="*/ 234 h 572"/>
                <a:gd name="T4" fmla="*/ 928 w 1854"/>
                <a:gd name="T5" fmla="*/ 572 h 572"/>
                <a:gd name="T6" fmla="*/ 1854 w 1854"/>
                <a:gd name="T7" fmla="*/ 234 h 572"/>
                <a:gd name="T8" fmla="*/ 1693 w 1854"/>
                <a:gd name="T9" fmla="*/ 0 h 572"/>
                <a:gd name="T10" fmla="*/ 928 w 1854"/>
                <a:gd name="T11" fmla="*/ 279 h 572"/>
                <a:gd name="T12" fmla="*/ 161 w 1854"/>
                <a:gd name="T13" fmla="*/ 0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4" h="572">
                  <a:moveTo>
                    <a:pt x="161" y="0"/>
                  </a:moveTo>
                  <a:lnTo>
                    <a:pt x="0" y="234"/>
                  </a:lnTo>
                  <a:lnTo>
                    <a:pt x="928" y="572"/>
                  </a:lnTo>
                  <a:lnTo>
                    <a:pt x="1854" y="234"/>
                  </a:lnTo>
                  <a:lnTo>
                    <a:pt x="1693" y="0"/>
                  </a:lnTo>
                  <a:lnTo>
                    <a:pt x="928" y="279"/>
                  </a:lnTo>
                  <a:lnTo>
                    <a:pt x="161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25" name="Freeform 14"/>
            <p:cNvSpPr>
              <a:spLocks/>
            </p:cNvSpPr>
            <p:nvPr/>
          </p:nvSpPr>
          <p:spPr bwMode="auto">
            <a:xfrm>
              <a:off x="5556040" y="3040687"/>
              <a:ext cx="2613022" cy="539387"/>
            </a:xfrm>
            <a:custGeom>
              <a:avLst/>
              <a:gdLst>
                <a:gd name="T0" fmla="*/ 1531 w 1531"/>
                <a:gd name="T1" fmla="*/ 17 h 296"/>
                <a:gd name="T2" fmla="*/ 1531 w 1531"/>
                <a:gd name="T3" fmla="*/ 17 h 296"/>
                <a:gd name="T4" fmla="*/ 1414 w 1531"/>
                <a:gd name="T5" fmla="*/ 0 h 296"/>
                <a:gd name="T6" fmla="*/ 766 w 1531"/>
                <a:gd name="T7" fmla="*/ 237 h 296"/>
                <a:gd name="T8" fmla="*/ 117 w 1531"/>
                <a:gd name="T9" fmla="*/ 0 h 296"/>
                <a:gd name="T10" fmla="*/ 0 w 1531"/>
                <a:gd name="T11" fmla="*/ 17 h 296"/>
                <a:gd name="T12" fmla="*/ 766 w 1531"/>
                <a:gd name="T13" fmla="*/ 296 h 296"/>
                <a:gd name="T14" fmla="*/ 1531 w 1531"/>
                <a:gd name="T15" fmla="*/ 17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31" h="296">
                  <a:moveTo>
                    <a:pt x="1531" y="17"/>
                  </a:moveTo>
                  <a:lnTo>
                    <a:pt x="1531" y="17"/>
                  </a:lnTo>
                  <a:lnTo>
                    <a:pt x="1414" y="0"/>
                  </a:lnTo>
                  <a:lnTo>
                    <a:pt x="766" y="237"/>
                  </a:lnTo>
                  <a:lnTo>
                    <a:pt x="117" y="0"/>
                  </a:lnTo>
                  <a:lnTo>
                    <a:pt x="0" y="17"/>
                  </a:lnTo>
                  <a:lnTo>
                    <a:pt x="766" y="296"/>
                  </a:lnTo>
                  <a:lnTo>
                    <a:pt x="1531" y="17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26" name="Freeform 18"/>
            <p:cNvSpPr>
              <a:spLocks/>
            </p:cNvSpPr>
            <p:nvPr/>
          </p:nvSpPr>
          <p:spPr bwMode="auto">
            <a:xfrm>
              <a:off x="6863405" y="3071666"/>
              <a:ext cx="1580443" cy="1042330"/>
            </a:xfrm>
            <a:custGeom>
              <a:avLst/>
              <a:gdLst>
                <a:gd name="T0" fmla="*/ 0 w 926"/>
                <a:gd name="T1" fmla="*/ 572 h 572"/>
                <a:gd name="T2" fmla="*/ 926 w 926"/>
                <a:gd name="T3" fmla="*/ 234 h 572"/>
                <a:gd name="T4" fmla="*/ 765 w 926"/>
                <a:gd name="T5" fmla="*/ 0 h 572"/>
                <a:gd name="T6" fmla="*/ 0 w 926"/>
                <a:gd name="T7" fmla="*/ 279 h 572"/>
                <a:gd name="T8" fmla="*/ 0 w 926"/>
                <a:gd name="T9" fmla="*/ 572 h 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26" h="572">
                  <a:moveTo>
                    <a:pt x="0" y="572"/>
                  </a:moveTo>
                  <a:lnTo>
                    <a:pt x="926" y="234"/>
                  </a:lnTo>
                  <a:lnTo>
                    <a:pt x="765" y="0"/>
                  </a:lnTo>
                  <a:lnTo>
                    <a:pt x="0" y="279"/>
                  </a:lnTo>
                  <a:lnTo>
                    <a:pt x="0" y="572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27" name="Freeform 8"/>
            <p:cNvSpPr>
              <a:spLocks/>
            </p:cNvSpPr>
            <p:nvPr/>
          </p:nvSpPr>
          <p:spPr bwMode="auto">
            <a:xfrm>
              <a:off x="6530589" y="903182"/>
              <a:ext cx="663923" cy="641434"/>
            </a:xfrm>
            <a:custGeom>
              <a:avLst/>
              <a:gdLst>
                <a:gd name="T0" fmla="*/ 389 w 389"/>
                <a:gd name="T1" fmla="*/ 282 h 352"/>
                <a:gd name="T2" fmla="*/ 195 w 389"/>
                <a:gd name="T3" fmla="*/ 0 h 352"/>
                <a:gd name="T4" fmla="*/ 0 w 389"/>
                <a:gd name="T5" fmla="*/ 282 h 352"/>
                <a:gd name="T6" fmla="*/ 195 w 389"/>
                <a:gd name="T7" fmla="*/ 352 h 352"/>
                <a:gd name="T8" fmla="*/ 389 w 389"/>
                <a:gd name="T9" fmla="*/ 28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9" h="352">
                  <a:moveTo>
                    <a:pt x="389" y="282"/>
                  </a:moveTo>
                  <a:lnTo>
                    <a:pt x="195" y="0"/>
                  </a:lnTo>
                  <a:lnTo>
                    <a:pt x="0" y="282"/>
                  </a:lnTo>
                  <a:lnTo>
                    <a:pt x="195" y="352"/>
                  </a:lnTo>
                  <a:lnTo>
                    <a:pt x="389" y="282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28" name="Freeform 19"/>
            <p:cNvSpPr>
              <a:spLocks/>
            </p:cNvSpPr>
            <p:nvPr/>
          </p:nvSpPr>
          <p:spPr bwMode="auto">
            <a:xfrm>
              <a:off x="6863405" y="903182"/>
              <a:ext cx="331108" cy="641434"/>
            </a:xfrm>
            <a:custGeom>
              <a:avLst/>
              <a:gdLst>
                <a:gd name="T0" fmla="*/ 0 w 194"/>
                <a:gd name="T1" fmla="*/ 352 h 352"/>
                <a:gd name="T2" fmla="*/ 194 w 194"/>
                <a:gd name="T3" fmla="*/ 282 h 352"/>
                <a:gd name="T4" fmla="*/ 0 w 194"/>
                <a:gd name="T5" fmla="*/ 0 h 352"/>
                <a:gd name="T6" fmla="*/ 0 w 194"/>
                <a:gd name="T7" fmla="*/ 352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4" h="352">
                  <a:moveTo>
                    <a:pt x="0" y="352"/>
                  </a:moveTo>
                  <a:lnTo>
                    <a:pt x="194" y="282"/>
                  </a:lnTo>
                  <a:lnTo>
                    <a:pt x="0" y="0"/>
                  </a:lnTo>
                  <a:lnTo>
                    <a:pt x="0" y="352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29" name="Freeform 9"/>
            <p:cNvSpPr>
              <a:spLocks/>
            </p:cNvSpPr>
            <p:nvPr/>
          </p:nvSpPr>
          <p:spPr bwMode="auto">
            <a:xfrm>
              <a:off x="6216549" y="1511815"/>
              <a:ext cx="1290296" cy="676058"/>
            </a:xfrm>
            <a:custGeom>
              <a:avLst/>
              <a:gdLst>
                <a:gd name="T0" fmla="*/ 379 w 756"/>
                <a:gd name="T1" fmla="*/ 79 h 371"/>
                <a:gd name="T2" fmla="*/ 162 w 756"/>
                <a:gd name="T3" fmla="*/ 0 h 371"/>
                <a:gd name="T4" fmla="*/ 0 w 756"/>
                <a:gd name="T5" fmla="*/ 233 h 371"/>
                <a:gd name="T6" fmla="*/ 379 w 756"/>
                <a:gd name="T7" fmla="*/ 371 h 371"/>
                <a:gd name="T8" fmla="*/ 756 w 756"/>
                <a:gd name="T9" fmla="*/ 233 h 371"/>
                <a:gd name="T10" fmla="*/ 595 w 756"/>
                <a:gd name="T11" fmla="*/ 0 h 371"/>
                <a:gd name="T12" fmla="*/ 379 w 756"/>
                <a:gd name="T13" fmla="*/ 79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6" h="371">
                  <a:moveTo>
                    <a:pt x="379" y="79"/>
                  </a:moveTo>
                  <a:lnTo>
                    <a:pt x="162" y="0"/>
                  </a:lnTo>
                  <a:lnTo>
                    <a:pt x="0" y="233"/>
                  </a:lnTo>
                  <a:lnTo>
                    <a:pt x="379" y="371"/>
                  </a:lnTo>
                  <a:lnTo>
                    <a:pt x="756" y="233"/>
                  </a:lnTo>
                  <a:lnTo>
                    <a:pt x="595" y="0"/>
                  </a:lnTo>
                  <a:lnTo>
                    <a:pt x="379" y="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0" name="Freeform 13"/>
            <p:cNvSpPr>
              <a:spLocks/>
            </p:cNvSpPr>
            <p:nvPr/>
          </p:nvSpPr>
          <p:spPr bwMode="auto">
            <a:xfrm>
              <a:off x="6494747" y="1480837"/>
              <a:ext cx="735606" cy="174936"/>
            </a:xfrm>
            <a:custGeom>
              <a:avLst/>
              <a:gdLst>
                <a:gd name="T0" fmla="*/ 431 w 431"/>
                <a:gd name="T1" fmla="*/ 17 h 96"/>
                <a:gd name="T2" fmla="*/ 314 w 431"/>
                <a:gd name="T3" fmla="*/ 0 h 96"/>
                <a:gd name="T4" fmla="*/ 216 w 431"/>
                <a:gd name="T5" fmla="*/ 35 h 96"/>
                <a:gd name="T6" fmla="*/ 117 w 431"/>
                <a:gd name="T7" fmla="*/ 0 h 96"/>
                <a:gd name="T8" fmla="*/ 0 w 431"/>
                <a:gd name="T9" fmla="*/ 17 h 96"/>
                <a:gd name="T10" fmla="*/ 216 w 431"/>
                <a:gd name="T11" fmla="*/ 96 h 96"/>
                <a:gd name="T12" fmla="*/ 431 w 431"/>
                <a:gd name="T13" fmla="*/ 1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1" h="96">
                  <a:moveTo>
                    <a:pt x="431" y="17"/>
                  </a:moveTo>
                  <a:lnTo>
                    <a:pt x="314" y="0"/>
                  </a:lnTo>
                  <a:lnTo>
                    <a:pt x="216" y="35"/>
                  </a:lnTo>
                  <a:lnTo>
                    <a:pt x="117" y="0"/>
                  </a:lnTo>
                  <a:lnTo>
                    <a:pt x="0" y="17"/>
                  </a:lnTo>
                  <a:lnTo>
                    <a:pt x="216" y="96"/>
                  </a:lnTo>
                  <a:lnTo>
                    <a:pt x="431" y="1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1" name="Freeform 20"/>
            <p:cNvSpPr>
              <a:spLocks/>
            </p:cNvSpPr>
            <p:nvPr/>
          </p:nvSpPr>
          <p:spPr bwMode="auto">
            <a:xfrm>
              <a:off x="6863405" y="1511815"/>
              <a:ext cx="643443" cy="676058"/>
            </a:xfrm>
            <a:custGeom>
              <a:avLst/>
              <a:gdLst>
                <a:gd name="T0" fmla="*/ 0 w 377"/>
                <a:gd name="T1" fmla="*/ 371 h 371"/>
                <a:gd name="T2" fmla="*/ 377 w 377"/>
                <a:gd name="T3" fmla="*/ 233 h 371"/>
                <a:gd name="T4" fmla="*/ 216 w 377"/>
                <a:gd name="T5" fmla="*/ 0 h 371"/>
                <a:gd name="T6" fmla="*/ 0 w 377"/>
                <a:gd name="T7" fmla="*/ 79 h 371"/>
                <a:gd name="T8" fmla="*/ 0 w 377"/>
                <a:gd name="T9" fmla="*/ 37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7" h="371">
                  <a:moveTo>
                    <a:pt x="0" y="371"/>
                  </a:moveTo>
                  <a:lnTo>
                    <a:pt x="377" y="233"/>
                  </a:lnTo>
                  <a:lnTo>
                    <a:pt x="216" y="0"/>
                  </a:lnTo>
                  <a:lnTo>
                    <a:pt x="0" y="79"/>
                  </a:lnTo>
                  <a:lnTo>
                    <a:pt x="0" y="371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2" name="Freeform 10"/>
            <p:cNvSpPr>
              <a:spLocks/>
            </p:cNvSpPr>
            <p:nvPr/>
          </p:nvSpPr>
          <p:spPr bwMode="auto">
            <a:xfrm>
              <a:off x="5591881" y="2552323"/>
              <a:ext cx="2539632" cy="920240"/>
            </a:xfrm>
            <a:custGeom>
              <a:avLst/>
              <a:gdLst>
                <a:gd name="T0" fmla="*/ 162 w 1488"/>
                <a:gd name="T1" fmla="*/ 0 h 505"/>
                <a:gd name="T2" fmla="*/ 0 w 1488"/>
                <a:gd name="T3" fmla="*/ 233 h 505"/>
                <a:gd name="T4" fmla="*/ 745 w 1488"/>
                <a:gd name="T5" fmla="*/ 505 h 505"/>
                <a:gd name="T6" fmla="*/ 1488 w 1488"/>
                <a:gd name="T7" fmla="*/ 233 h 505"/>
                <a:gd name="T8" fmla="*/ 1327 w 1488"/>
                <a:gd name="T9" fmla="*/ 0 h 505"/>
                <a:gd name="T10" fmla="*/ 745 w 1488"/>
                <a:gd name="T11" fmla="*/ 212 h 505"/>
                <a:gd name="T12" fmla="*/ 162 w 1488"/>
                <a:gd name="T13" fmla="*/ 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8" h="505">
                  <a:moveTo>
                    <a:pt x="162" y="0"/>
                  </a:moveTo>
                  <a:lnTo>
                    <a:pt x="0" y="233"/>
                  </a:lnTo>
                  <a:lnTo>
                    <a:pt x="745" y="505"/>
                  </a:lnTo>
                  <a:lnTo>
                    <a:pt x="1488" y="233"/>
                  </a:lnTo>
                  <a:lnTo>
                    <a:pt x="1327" y="0"/>
                  </a:lnTo>
                  <a:lnTo>
                    <a:pt x="745" y="212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3" name="Freeform 16"/>
            <p:cNvSpPr>
              <a:spLocks/>
            </p:cNvSpPr>
            <p:nvPr/>
          </p:nvSpPr>
          <p:spPr bwMode="auto">
            <a:xfrm>
              <a:off x="5868374" y="2521344"/>
              <a:ext cx="1988354" cy="417297"/>
            </a:xfrm>
            <a:custGeom>
              <a:avLst/>
              <a:gdLst>
                <a:gd name="T0" fmla="*/ 1165 w 1165"/>
                <a:gd name="T1" fmla="*/ 17 h 229"/>
                <a:gd name="T2" fmla="*/ 1047 w 1165"/>
                <a:gd name="T3" fmla="*/ 0 h 229"/>
                <a:gd name="T4" fmla="*/ 583 w 1165"/>
                <a:gd name="T5" fmla="*/ 169 h 229"/>
                <a:gd name="T6" fmla="*/ 118 w 1165"/>
                <a:gd name="T7" fmla="*/ 0 h 229"/>
                <a:gd name="T8" fmla="*/ 0 w 1165"/>
                <a:gd name="T9" fmla="*/ 17 h 229"/>
                <a:gd name="T10" fmla="*/ 583 w 1165"/>
                <a:gd name="T11" fmla="*/ 229 h 229"/>
                <a:gd name="T12" fmla="*/ 1165 w 1165"/>
                <a:gd name="T13" fmla="*/ 1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5" h="229">
                  <a:moveTo>
                    <a:pt x="1165" y="17"/>
                  </a:moveTo>
                  <a:lnTo>
                    <a:pt x="1047" y="0"/>
                  </a:lnTo>
                  <a:lnTo>
                    <a:pt x="583" y="169"/>
                  </a:lnTo>
                  <a:lnTo>
                    <a:pt x="118" y="0"/>
                  </a:lnTo>
                  <a:lnTo>
                    <a:pt x="0" y="17"/>
                  </a:lnTo>
                  <a:lnTo>
                    <a:pt x="583" y="229"/>
                  </a:lnTo>
                  <a:lnTo>
                    <a:pt x="1165" y="1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4" name="Freeform 21"/>
            <p:cNvSpPr>
              <a:spLocks/>
            </p:cNvSpPr>
            <p:nvPr/>
          </p:nvSpPr>
          <p:spPr bwMode="auto">
            <a:xfrm>
              <a:off x="6863405" y="2552323"/>
              <a:ext cx="1268109" cy="920240"/>
            </a:xfrm>
            <a:custGeom>
              <a:avLst/>
              <a:gdLst>
                <a:gd name="T0" fmla="*/ 0 w 743"/>
                <a:gd name="T1" fmla="*/ 505 h 505"/>
                <a:gd name="T2" fmla="*/ 743 w 743"/>
                <a:gd name="T3" fmla="*/ 233 h 505"/>
                <a:gd name="T4" fmla="*/ 582 w 743"/>
                <a:gd name="T5" fmla="*/ 0 h 505"/>
                <a:gd name="T6" fmla="*/ 0 w 743"/>
                <a:gd name="T7" fmla="*/ 212 h 505"/>
                <a:gd name="T8" fmla="*/ 0 w 743"/>
                <a:gd name="T9" fmla="*/ 505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3" h="505">
                  <a:moveTo>
                    <a:pt x="0" y="505"/>
                  </a:moveTo>
                  <a:lnTo>
                    <a:pt x="743" y="233"/>
                  </a:lnTo>
                  <a:lnTo>
                    <a:pt x="582" y="0"/>
                  </a:lnTo>
                  <a:lnTo>
                    <a:pt x="0" y="212"/>
                  </a:lnTo>
                  <a:lnTo>
                    <a:pt x="0" y="505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5" name="Freeform 11"/>
            <p:cNvSpPr>
              <a:spLocks/>
            </p:cNvSpPr>
            <p:nvPr/>
          </p:nvSpPr>
          <p:spPr bwMode="auto">
            <a:xfrm>
              <a:off x="5904215" y="2031157"/>
              <a:ext cx="1914964" cy="798148"/>
            </a:xfrm>
            <a:custGeom>
              <a:avLst/>
              <a:gdLst>
                <a:gd name="T0" fmla="*/ 161 w 1122"/>
                <a:gd name="T1" fmla="*/ 0 h 438"/>
                <a:gd name="T2" fmla="*/ 0 w 1122"/>
                <a:gd name="T3" fmla="*/ 234 h 438"/>
                <a:gd name="T4" fmla="*/ 562 w 1122"/>
                <a:gd name="T5" fmla="*/ 438 h 438"/>
                <a:gd name="T6" fmla="*/ 1122 w 1122"/>
                <a:gd name="T7" fmla="*/ 234 h 438"/>
                <a:gd name="T8" fmla="*/ 961 w 1122"/>
                <a:gd name="T9" fmla="*/ 0 h 438"/>
                <a:gd name="T10" fmla="*/ 562 w 1122"/>
                <a:gd name="T11" fmla="*/ 146 h 438"/>
                <a:gd name="T12" fmla="*/ 161 w 1122"/>
                <a:gd name="T13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2" h="438">
                  <a:moveTo>
                    <a:pt x="161" y="0"/>
                  </a:moveTo>
                  <a:lnTo>
                    <a:pt x="0" y="234"/>
                  </a:lnTo>
                  <a:lnTo>
                    <a:pt x="562" y="438"/>
                  </a:lnTo>
                  <a:lnTo>
                    <a:pt x="1122" y="234"/>
                  </a:lnTo>
                  <a:lnTo>
                    <a:pt x="961" y="0"/>
                  </a:lnTo>
                  <a:lnTo>
                    <a:pt x="562" y="146"/>
                  </a:lnTo>
                  <a:lnTo>
                    <a:pt x="16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6" name="Freeform 15"/>
            <p:cNvSpPr>
              <a:spLocks/>
            </p:cNvSpPr>
            <p:nvPr/>
          </p:nvSpPr>
          <p:spPr bwMode="auto">
            <a:xfrm>
              <a:off x="6180708" y="2000179"/>
              <a:ext cx="1363687" cy="297028"/>
            </a:xfrm>
            <a:custGeom>
              <a:avLst/>
              <a:gdLst>
                <a:gd name="T0" fmla="*/ 799 w 799"/>
                <a:gd name="T1" fmla="*/ 17 h 163"/>
                <a:gd name="T2" fmla="*/ 681 w 799"/>
                <a:gd name="T3" fmla="*/ 0 h 163"/>
                <a:gd name="T4" fmla="*/ 400 w 799"/>
                <a:gd name="T5" fmla="*/ 103 h 163"/>
                <a:gd name="T6" fmla="*/ 118 w 799"/>
                <a:gd name="T7" fmla="*/ 0 h 163"/>
                <a:gd name="T8" fmla="*/ 0 w 799"/>
                <a:gd name="T9" fmla="*/ 17 h 163"/>
                <a:gd name="T10" fmla="*/ 400 w 799"/>
                <a:gd name="T11" fmla="*/ 163 h 163"/>
                <a:gd name="T12" fmla="*/ 799 w 799"/>
                <a:gd name="T13" fmla="*/ 17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9" h="163">
                  <a:moveTo>
                    <a:pt x="799" y="17"/>
                  </a:moveTo>
                  <a:lnTo>
                    <a:pt x="681" y="0"/>
                  </a:lnTo>
                  <a:lnTo>
                    <a:pt x="400" y="103"/>
                  </a:lnTo>
                  <a:lnTo>
                    <a:pt x="118" y="0"/>
                  </a:lnTo>
                  <a:lnTo>
                    <a:pt x="0" y="17"/>
                  </a:lnTo>
                  <a:lnTo>
                    <a:pt x="400" y="163"/>
                  </a:lnTo>
                  <a:lnTo>
                    <a:pt x="799" y="1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7" name="Freeform 22"/>
            <p:cNvSpPr>
              <a:spLocks/>
            </p:cNvSpPr>
            <p:nvPr/>
          </p:nvSpPr>
          <p:spPr bwMode="auto">
            <a:xfrm>
              <a:off x="6863405" y="2031157"/>
              <a:ext cx="955776" cy="798148"/>
            </a:xfrm>
            <a:custGeom>
              <a:avLst/>
              <a:gdLst>
                <a:gd name="T0" fmla="*/ 0 w 560"/>
                <a:gd name="T1" fmla="*/ 438 h 438"/>
                <a:gd name="T2" fmla="*/ 560 w 560"/>
                <a:gd name="T3" fmla="*/ 234 h 438"/>
                <a:gd name="T4" fmla="*/ 399 w 560"/>
                <a:gd name="T5" fmla="*/ 0 h 438"/>
                <a:gd name="T6" fmla="*/ 0 w 560"/>
                <a:gd name="T7" fmla="*/ 146 h 438"/>
                <a:gd name="T8" fmla="*/ 0 w 560"/>
                <a:gd name="T9" fmla="*/ 438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0" h="438">
                  <a:moveTo>
                    <a:pt x="0" y="438"/>
                  </a:moveTo>
                  <a:lnTo>
                    <a:pt x="560" y="234"/>
                  </a:lnTo>
                  <a:lnTo>
                    <a:pt x="399" y="0"/>
                  </a:lnTo>
                  <a:lnTo>
                    <a:pt x="0" y="146"/>
                  </a:lnTo>
                  <a:lnTo>
                    <a:pt x="0" y="438"/>
                  </a:lnTo>
                  <a:close/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8" name="Freeform 12"/>
            <p:cNvSpPr>
              <a:spLocks/>
            </p:cNvSpPr>
            <p:nvPr/>
          </p:nvSpPr>
          <p:spPr bwMode="auto">
            <a:xfrm>
              <a:off x="5243707" y="3561852"/>
              <a:ext cx="3237690" cy="659657"/>
            </a:xfrm>
            <a:custGeom>
              <a:avLst/>
              <a:gdLst>
                <a:gd name="T0" fmla="*/ 1897 w 1897"/>
                <a:gd name="T1" fmla="*/ 16 h 362"/>
                <a:gd name="T2" fmla="*/ 1780 w 1897"/>
                <a:gd name="T3" fmla="*/ 0 h 362"/>
                <a:gd name="T4" fmla="*/ 949 w 1897"/>
                <a:gd name="T5" fmla="*/ 303 h 362"/>
                <a:gd name="T6" fmla="*/ 117 w 1897"/>
                <a:gd name="T7" fmla="*/ 0 h 362"/>
                <a:gd name="T8" fmla="*/ 0 w 1897"/>
                <a:gd name="T9" fmla="*/ 16 h 362"/>
                <a:gd name="T10" fmla="*/ 949 w 1897"/>
                <a:gd name="T11" fmla="*/ 362 h 362"/>
                <a:gd name="T12" fmla="*/ 1897 w 1897"/>
                <a:gd name="T13" fmla="*/ 16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7" h="362">
                  <a:moveTo>
                    <a:pt x="1897" y="16"/>
                  </a:moveTo>
                  <a:lnTo>
                    <a:pt x="1780" y="0"/>
                  </a:lnTo>
                  <a:lnTo>
                    <a:pt x="949" y="303"/>
                  </a:lnTo>
                  <a:lnTo>
                    <a:pt x="117" y="0"/>
                  </a:lnTo>
                  <a:lnTo>
                    <a:pt x="0" y="16"/>
                  </a:lnTo>
                  <a:lnTo>
                    <a:pt x="949" y="362"/>
                  </a:lnTo>
                  <a:lnTo>
                    <a:pt x="1897" y="16"/>
                  </a:lnTo>
                  <a:close/>
                </a:path>
              </a:pathLst>
            </a:custGeom>
            <a:solidFill>
              <a:schemeClr val="tx1">
                <a:alpha val="50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39" name="Freeform 14"/>
            <p:cNvSpPr>
              <a:spLocks/>
            </p:cNvSpPr>
            <p:nvPr/>
          </p:nvSpPr>
          <p:spPr bwMode="auto">
            <a:xfrm>
              <a:off x="5556040" y="3040687"/>
              <a:ext cx="2613022" cy="539387"/>
            </a:xfrm>
            <a:custGeom>
              <a:avLst/>
              <a:gdLst>
                <a:gd name="T0" fmla="*/ 1531 w 1531"/>
                <a:gd name="T1" fmla="*/ 17 h 296"/>
                <a:gd name="T2" fmla="*/ 1531 w 1531"/>
                <a:gd name="T3" fmla="*/ 17 h 296"/>
                <a:gd name="T4" fmla="*/ 1414 w 1531"/>
                <a:gd name="T5" fmla="*/ 0 h 296"/>
                <a:gd name="T6" fmla="*/ 766 w 1531"/>
                <a:gd name="T7" fmla="*/ 237 h 296"/>
                <a:gd name="T8" fmla="*/ 117 w 1531"/>
                <a:gd name="T9" fmla="*/ 0 h 296"/>
                <a:gd name="T10" fmla="*/ 0 w 1531"/>
                <a:gd name="T11" fmla="*/ 17 h 296"/>
                <a:gd name="T12" fmla="*/ 766 w 1531"/>
                <a:gd name="T13" fmla="*/ 296 h 296"/>
                <a:gd name="T14" fmla="*/ 1531 w 1531"/>
                <a:gd name="T15" fmla="*/ 17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31" h="296">
                  <a:moveTo>
                    <a:pt x="1531" y="17"/>
                  </a:moveTo>
                  <a:lnTo>
                    <a:pt x="1531" y="17"/>
                  </a:lnTo>
                  <a:lnTo>
                    <a:pt x="1414" y="0"/>
                  </a:lnTo>
                  <a:lnTo>
                    <a:pt x="766" y="237"/>
                  </a:lnTo>
                  <a:lnTo>
                    <a:pt x="117" y="0"/>
                  </a:lnTo>
                  <a:lnTo>
                    <a:pt x="0" y="17"/>
                  </a:lnTo>
                  <a:lnTo>
                    <a:pt x="766" y="296"/>
                  </a:lnTo>
                  <a:lnTo>
                    <a:pt x="1531" y="17"/>
                  </a:lnTo>
                  <a:close/>
                </a:path>
              </a:pathLst>
            </a:custGeom>
            <a:solidFill>
              <a:schemeClr val="tx1">
                <a:alpha val="50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40" name="Freeform 13"/>
            <p:cNvSpPr>
              <a:spLocks/>
            </p:cNvSpPr>
            <p:nvPr/>
          </p:nvSpPr>
          <p:spPr bwMode="auto">
            <a:xfrm>
              <a:off x="6494748" y="1480837"/>
              <a:ext cx="735606" cy="174936"/>
            </a:xfrm>
            <a:custGeom>
              <a:avLst/>
              <a:gdLst>
                <a:gd name="T0" fmla="*/ 431 w 431"/>
                <a:gd name="T1" fmla="*/ 17 h 96"/>
                <a:gd name="T2" fmla="*/ 314 w 431"/>
                <a:gd name="T3" fmla="*/ 0 h 96"/>
                <a:gd name="T4" fmla="*/ 216 w 431"/>
                <a:gd name="T5" fmla="*/ 35 h 96"/>
                <a:gd name="T6" fmla="*/ 117 w 431"/>
                <a:gd name="T7" fmla="*/ 0 h 96"/>
                <a:gd name="T8" fmla="*/ 0 w 431"/>
                <a:gd name="T9" fmla="*/ 17 h 96"/>
                <a:gd name="T10" fmla="*/ 216 w 431"/>
                <a:gd name="T11" fmla="*/ 96 h 96"/>
                <a:gd name="T12" fmla="*/ 431 w 431"/>
                <a:gd name="T13" fmla="*/ 1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1" h="96">
                  <a:moveTo>
                    <a:pt x="431" y="17"/>
                  </a:moveTo>
                  <a:lnTo>
                    <a:pt x="314" y="0"/>
                  </a:lnTo>
                  <a:lnTo>
                    <a:pt x="216" y="35"/>
                  </a:lnTo>
                  <a:lnTo>
                    <a:pt x="117" y="0"/>
                  </a:lnTo>
                  <a:lnTo>
                    <a:pt x="0" y="17"/>
                  </a:lnTo>
                  <a:lnTo>
                    <a:pt x="216" y="96"/>
                  </a:lnTo>
                  <a:lnTo>
                    <a:pt x="431" y="17"/>
                  </a:lnTo>
                  <a:close/>
                </a:path>
              </a:pathLst>
            </a:custGeom>
            <a:solidFill>
              <a:schemeClr val="tx1">
                <a:alpha val="50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41" name="Freeform 16"/>
            <p:cNvSpPr>
              <a:spLocks/>
            </p:cNvSpPr>
            <p:nvPr/>
          </p:nvSpPr>
          <p:spPr bwMode="auto">
            <a:xfrm>
              <a:off x="5868374" y="2521344"/>
              <a:ext cx="1988354" cy="417297"/>
            </a:xfrm>
            <a:custGeom>
              <a:avLst/>
              <a:gdLst>
                <a:gd name="T0" fmla="*/ 1165 w 1165"/>
                <a:gd name="T1" fmla="*/ 17 h 229"/>
                <a:gd name="T2" fmla="*/ 1047 w 1165"/>
                <a:gd name="T3" fmla="*/ 0 h 229"/>
                <a:gd name="T4" fmla="*/ 583 w 1165"/>
                <a:gd name="T5" fmla="*/ 169 h 229"/>
                <a:gd name="T6" fmla="*/ 118 w 1165"/>
                <a:gd name="T7" fmla="*/ 0 h 229"/>
                <a:gd name="T8" fmla="*/ 0 w 1165"/>
                <a:gd name="T9" fmla="*/ 17 h 229"/>
                <a:gd name="T10" fmla="*/ 583 w 1165"/>
                <a:gd name="T11" fmla="*/ 229 h 229"/>
                <a:gd name="T12" fmla="*/ 1165 w 1165"/>
                <a:gd name="T13" fmla="*/ 1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5" h="229">
                  <a:moveTo>
                    <a:pt x="1165" y="17"/>
                  </a:moveTo>
                  <a:lnTo>
                    <a:pt x="1047" y="0"/>
                  </a:lnTo>
                  <a:lnTo>
                    <a:pt x="583" y="169"/>
                  </a:lnTo>
                  <a:lnTo>
                    <a:pt x="118" y="0"/>
                  </a:lnTo>
                  <a:lnTo>
                    <a:pt x="0" y="17"/>
                  </a:lnTo>
                  <a:lnTo>
                    <a:pt x="583" y="229"/>
                  </a:lnTo>
                  <a:lnTo>
                    <a:pt x="1165" y="17"/>
                  </a:lnTo>
                  <a:close/>
                </a:path>
              </a:pathLst>
            </a:custGeom>
            <a:solidFill>
              <a:schemeClr val="tx1">
                <a:alpha val="50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  <p:sp>
          <p:nvSpPr>
            <p:cNvPr id="242" name="Freeform 15"/>
            <p:cNvSpPr>
              <a:spLocks/>
            </p:cNvSpPr>
            <p:nvPr/>
          </p:nvSpPr>
          <p:spPr bwMode="auto">
            <a:xfrm>
              <a:off x="6180708" y="2000179"/>
              <a:ext cx="1363687" cy="297028"/>
            </a:xfrm>
            <a:custGeom>
              <a:avLst/>
              <a:gdLst>
                <a:gd name="T0" fmla="*/ 799 w 799"/>
                <a:gd name="T1" fmla="*/ 17 h 163"/>
                <a:gd name="T2" fmla="*/ 681 w 799"/>
                <a:gd name="T3" fmla="*/ 0 h 163"/>
                <a:gd name="T4" fmla="*/ 400 w 799"/>
                <a:gd name="T5" fmla="*/ 103 h 163"/>
                <a:gd name="T6" fmla="*/ 118 w 799"/>
                <a:gd name="T7" fmla="*/ 0 h 163"/>
                <a:gd name="T8" fmla="*/ 0 w 799"/>
                <a:gd name="T9" fmla="*/ 17 h 163"/>
                <a:gd name="T10" fmla="*/ 400 w 799"/>
                <a:gd name="T11" fmla="*/ 163 h 163"/>
                <a:gd name="T12" fmla="*/ 799 w 799"/>
                <a:gd name="T13" fmla="*/ 17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9" h="163">
                  <a:moveTo>
                    <a:pt x="799" y="17"/>
                  </a:moveTo>
                  <a:lnTo>
                    <a:pt x="681" y="0"/>
                  </a:lnTo>
                  <a:lnTo>
                    <a:pt x="400" y="103"/>
                  </a:lnTo>
                  <a:lnTo>
                    <a:pt x="118" y="0"/>
                  </a:lnTo>
                  <a:lnTo>
                    <a:pt x="0" y="17"/>
                  </a:lnTo>
                  <a:lnTo>
                    <a:pt x="400" y="163"/>
                  </a:lnTo>
                  <a:lnTo>
                    <a:pt x="799" y="17"/>
                  </a:lnTo>
                  <a:close/>
                </a:path>
              </a:pathLst>
            </a:custGeom>
            <a:solidFill>
              <a:schemeClr val="tx1">
                <a:alpha val="50000"/>
              </a:schemeClr>
            </a:solidFill>
            <a:ln>
              <a:noFill/>
            </a:ln>
          </p:spPr>
          <p:txBody>
            <a:bodyPr vert="horz" wrap="square" lIns="121731" tIns="60865" rIns="121731" bIns="60865" numCol="1" anchor="t" anchorCtr="0" compatLnSpc="1">
              <a:prstTxWarp prst="textNoShape">
                <a:avLst/>
              </a:prstTxWarp>
            </a:bodyPr>
            <a:lstStyle/>
            <a:p>
              <a:endParaRPr lang="en-US" sz="2396"/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47C8932-D3C8-4FF9-AF87-CB1F561B004E}"/>
              </a:ext>
            </a:extLst>
          </p:cNvPr>
          <p:cNvGrpSpPr/>
          <p:nvPr/>
        </p:nvGrpSpPr>
        <p:grpSpPr>
          <a:xfrm>
            <a:off x="468468" y="1493079"/>
            <a:ext cx="5669281" cy="537790"/>
            <a:chOff x="7043746" y="4219288"/>
            <a:chExt cx="654338" cy="537790"/>
          </a:xfrm>
        </p:grpSpPr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51510700-B081-40DE-B7F8-8004C32ABD9C}"/>
                </a:ext>
              </a:extLst>
            </p:cNvPr>
            <p:cNvSpPr txBox="1"/>
            <p:nvPr/>
          </p:nvSpPr>
          <p:spPr>
            <a:xfrm>
              <a:off x="7043746" y="4480079"/>
              <a:ext cx="654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2F9F9D35-A81E-41F1-A373-68AA15949A59}"/>
                </a:ext>
              </a:extLst>
            </p:cNvPr>
            <p:cNvSpPr txBox="1"/>
            <p:nvPr/>
          </p:nvSpPr>
          <p:spPr>
            <a:xfrm>
              <a:off x="7043746" y="4219288"/>
              <a:ext cx="654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600" dirty="0">
                  <a:solidFill>
                    <a:schemeClr val="accent1"/>
                  </a:solidFill>
                  <a:latin typeface="+mj-lt"/>
                </a:rPr>
                <a:t>Insert title here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EB73249-9AF2-4A53-B8E2-AFE34AE3E6DD}"/>
              </a:ext>
            </a:extLst>
          </p:cNvPr>
          <p:cNvGrpSpPr/>
          <p:nvPr/>
        </p:nvGrpSpPr>
        <p:grpSpPr>
          <a:xfrm>
            <a:off x="468468" y="2172449"/>
            <a:ext cx="5669281" cy="537790"/>
            <a:chOff x="7043746" y="4219288"/>
            <a:chExt cx="654338" cy="537790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83824F2-38A4-4186-9731-2A4F6E340CB8}"/>
                </a:ext>
              </a:extLst>
            </p:cNvPr>
            <p:cNvSpPr txBox="1"/>
            <p:nvPr/>
          </p:nvSpPr>
          <p:spPr>
            <a:xfrm>
              <a:off x="7043746" y="4480079"/>
              <a:ext cx="654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FF5B2A56-53B0-49FD-A9E1-EA48C4713371}"/>
                </a:ext>
              </a:extLst>
            </p:cNvPr>
            <p:cNvSpPr txBox="1"/>
            <p:nvPr/>
          </p:nvSpPr>
          <p:spPr>
            <a:xfrm>
              <a:off x="7043746" y="4219288"/>
              <a:ext cx="654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600" dirty="0">
                  <a:solidFill>
                    <a:schemeClr val="accent2"/>
                  </a:solidFill>
                  <a:latin typeface="+mj-lt"/>
                </a:rPr>
                <a:t>Insert title here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A13077C6-8FA4-4493-873E-8B1D860DB59D}"/>
              </a:ext>
            </a:extLst>
          </p:cNvPr>
          <p:cNvGrpSpPr/>
          <p:nvPr/>
        </p:nvGrpSpPr>
        <p:grpSpPr>
          <a:xfrm>
            <a:off x="468468" y="2851819"/>
            <a:ext cx="5669281" cy="537790"/>
            <a:chOff x="7043746" y="4219288"/>
            <a:chExt cx="654338" cy="537790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639F9A52-9248-4ACA-A2CA-8151C1543C1F}"/>
                </a:ext>
              </a:extLst>
            </p:cNvPr>
            <p:cNvSpPr txBox="1"/>
            <p:nvPr/>
          </p:nvSpPr>
          <p:spPr>
            <a:xfrm>
              <a:off x="7043746" y="4480079"/>
              <a:ext cx="654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6A400C04-F48D-4251-9247-526FC5060632}"/>
                </a:ext>
              </a:extLst>
            </p:cNvPr>
            <p:cNvSpPr txBox="1"/>
            <p:nvPr/>
          </p:nvSpPr>
          <p:spPr>
            <a:xfrm>
              <a:off x="7043746" y="4219288"/>
              <a:ext cx="654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600" dirty="0">
                  <a:solidFill>
                    <a:schemeClr val="accent3"/>
                  </a:solidFill>
                  <a:latin typeface="+mj-lt"/>
                </a:rPr>
                <a:t>Insert title here</a:t>
              </a: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BA22633-FB72-4A5E-969A-558CD856E6E7}"/>
              </a:ext>
            </a:extLst>
          </p:cNvPr>
          <p:cNvGrpSpPr/>
          <p:nvPr/>
        </p:nvGrpSpPr>
        <p:grpSpPr>
          <a:xfrm>
            <a:off x="468468" y="3531189"/>
            <a:ext cx="5669281" cy="537790"/>
            <a:chOff x="7043746" y="4219288"/>
            <a:chExt cx="654338" cy="537790"/>
          </a:xfrm>
        </p:grpSpPr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0717D586-BF7C-474F-AF70-9B95F3427655}"/>
                </a:ext>
              </a:extLst>
            </p:cNvPr>
            <p:cNvSpPr txBox="1"/>
            <p:nvPr/>
          </p:nvSpPr>
          <p:spPr>
            <a:xfrm>
              <a:off x="7043746" y="4480079"/>
              <a:ext cx="654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76D45518-CBB4-4AD4-992A-C2D7FDAC150C}"/>
                </a:ext>
              </a:extLst>
            </p:cNvPr>
            <p:cNvSpPr txBox="1"/>
            <p:nvPr/>
          </p:nvSpPr>
          <p:spPr>
            <a:xfrm>
              <a:off x="7043746" y="4219288"/>
              <a:ext cx="654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600" dirty="0">
                  <a:solidFill>
                    <a:schemeClr val="accent4"/>
                  </a:solidFill>
                  <a:latin typeface="+mj-lt"/>
                </a:rPr>
                <a:t>Insert title here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BE1D452D-DB9D-4E5F-8773-04513CB2551A}"/>
              </a:ext>
            </a:extLst>
          </p:cNvPr>
          <p:cNvGrpSpPr/>
          <p:nvPr/>
        </p:nvGrpSpPr>
        <p:grpSpPr>
          <a:xfrm>
            <a:off x="468468" y="4210559"/>
            <a:ext cx="5669281" cy="537790"/>
            <a:chOff x="7043746" y="4219288"/>
            <a:chExt cx="654338" cy="537790"/>
          </a:xfrm>
        </p:grpSpPr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69F13157-632B-44E0-90DE-AFB1C7C5703E}"/>
                </a:ext>
              </a:extLst>
            </p:cNvPr>
            <p:cNvSpPr txBox="1"/>
            <p:nvPr/>
          </p:nvSpPr>
          <p:spPr>
            <a:xfrm>
              <a:off x="7043746" y="4480079"/>
              <a:ext cx="654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A3BE95F-6FB1-4846-9B9F-17309F5FF8AD}"/>
                </a:ext>
              </a:extLst>
            </p:cNvPr>
            <p:cNvSpPr txBox="1"/>
            <p:nvPr/>
          </p:nvSpPr>
          <p:spPr>
            <a:xfrm>
              <a:off x="7043746" y="4219288"/>
              <a:ext cx="654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600" dirty="0">
                  <a:solidFill>
                    <a:schemeClr val="accent5"/>
                  </a:solidFill>
                  <a:latin typeface="+mj-lt"/>
                </a:rPr>
                <a:t>Insert title here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BFBCB02D-091E-4929-8DF0-434B7CEAEAC7}"/>
              </a:ext>
            </a:extLst>
          </p:cNvPr>
          <p:cNvGrpSpPr/>
          <p:nvPr/>
        </p:nvGrpSpPr>
        <p:grpSpPr>
          <a:xfrm>
            <a:off x="468468" y="4878501"/>
            <a:ext cx="5669281" cy="537790"/>
            <a:chOff x="7043746" y="4219288"/>
            <a:chExt cx="654338" cy="537790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BE59D1B9-6988-4C8A-8B78-E1555A809E0A}"/>
                </a:ext>
              </a:extLst>
            </p:cNvPr>
            <p:cNvSpPr txBox="1"/>
            <p:nvPr/>
          </p:nvSpPr>
          <p:spPr>
            <a:xfrm>
              <a:off x="7043746" y="4480079"/>
              <a:ext cx="6543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200" dirty="0">
                  <a:solidFill>
                    <a:schemeClr val="tx2">
                      <a:lumMod val="60000"/>
                      <a:lumOff val="40000"/>
                    </a:schemeClr>
                  </a:solidFill>
                </a:rPr>
                <a:t>Lorem ipsum dolor sit amet, consectetuer adipiscing elit, sed diam nonummy. 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36B1B5F0-6385-4416-A393-9D08213CCC9A}"/>
                </a:ext>
              </a:extLst>
            </p:cNvPr>
            <p:cNvSpPr txBox="1"/>
            <p:nvPr/>
          </p:nvSpPr>
          <p:spPr>
            <a:xfrm>
              <a:off x="7043746" y="4219288"/>
              <a:ext cx="6543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id-ID" sz="1600" dirty="0">
                  <a:solidFill>
                    <a:schemeClr val="accent6"/>
                  </a:solidFill>
                  <a:latin typeface="+mj-lt"/>
                </a:rPr>
                <a:t>Insert title here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05882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9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185</TotalTime>
  <Words>106</Words>
  <Application>Microsoft Office PowerPoint</Application>
  <PresentationFormat>Widescreen</PresentationFormat>
  <Paragraphs>14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407</cp:revision>
  <dcterms:created xsi:type="dcterms:W3CDTF">2020-11-27T23:09:27Z</dcterms:created>
  <dcterms:modified xsi:type="dcterms:W3CDTF">2021-04-06T14:40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